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35" r:id="rId2"/>
    <p:sldMasterId id="2147483861" r:id="rId3"/>
    <p:sldMasterId id="2147483875" r:id="rId4"/>
  </p:sldMasterIdLst>
  <p:notesMasterIdLst>
    <p:notesMasterId r:id="rId15"/>
  </p:notesMasterIdLst>
  <p:handoutMasterIdLst>
    <p:handoutMasterId r:id="rId16"/>
  </p:handoutMasterIdLst>
  <p:sldIdLst>
    <p:sldId id="273" r:id="rId5"/>
    <p:sldId id="361" r:id="rId6"/>
    <p:sldId id="363" r:id="rId7"/>
    <p:sldId id="362" r:id="rId8"/>
    <p:sldId id="364" r:id="rId9"/>
    <p:sldId id="353" r:id="rId10"/>
    <p:sldId id="365" r:id="rId11"/>
    <p:sldId id="366" r:id="rId12"/>
    <p:sldId id="351" r:id="rId13"/>
    <p:sldId id="367" r:id="rId14"/>
  </p:sldIdLst>
  <p:sldSz cx="9144000" cy="6858000" type="screen4x3"/>
  <p:notesSz cx="6780213" cy="98726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Helvetica" pitchFamily="34" charset="0"/>
        <a:sym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CC"/>
    <a:srgbClr val="002060"/>
    <a:srgbClr val="CCCCFF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33" autoAdjust="0"/>
    <p:restoredTop sz="97326" autoAdjust="0"/>
  </p:normalViewPr>
  <p:slideViewPr>
    <p:cSldViewPr>
      <p:cViewPr varScale="1">
        <p:scale>
          <a:sx n="88" d="100"/>
          <a:sy n="88" d="100"/>
        </p:scale>
        <p:origin x="1038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0" d="100"/>
          <a:sy n="60" d="100"/>
        </p:scale>
        <p:origin x="-1866" y="-66"/>
      </p:cViewPr>
      <p:guideLst>
        <p:guide orient="horz" pos="3109"/>
        <p:guide pos="21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8831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9799" y="1"/>
            <a:ext cx="2938831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178544A-9A56-4CB4-9BE7-A998E6D401C3}" type="datetimeFigureOut">
              <a:rPr lang="ru-RU"/>
              <a:pPr>
                <a:defRPr/>
              </a:pPr>
              <a:t>08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38831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9799" y="9377363"/>
            <a:ext cx="2938831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5A42FA74-1AEC-4092-A23F-F4079D6BDD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27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hape 96"/>
          <p:cNvSpPr>
            <a:spLocks noGrp="1" noRot="1" noChangeAspect="1"/>
          </p:cNvSpPr>
          <p:nvPr>
            <p:ph type="sldImg"/>
          </p:nvPr>
        </p:nvSpPr>
        <p:spPr bwMode="auto">
          <a:xfrm>
            <a:off x="922338" y="739775"/>
            <a:ext cx="4935537" cy="370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1507" name="Shape 97"/>
          <p:cNvSpPr>
            <a:spLocks noGrp="1"/>
          </p:cNvSpPr>
          <p:nvPr>
            <p:ph type="body" sz="quarter" idx="1"/>
          </p:nvPr>
        </p:nvSpPr>
        <p:spPr bwMode="auto">
          <a:xfrm>
            <a:off x="904134" y="4689476"/>
            <a:ext cx="4971945" cy="444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altLang="ru-RU" smtClean="0"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655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>
        <a:solidFill>
          <a:schemeClr val="tx1"/>
        </a:solidFill>
        <a:latin typeface="+mj-lt"/>
        <a:ea typeface="+mj-ea"/>
        <a:cs typeface="+mj-cs"/>
        <a:sym typeface="Calibri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>
        <a:solidFill>
          <a:schemeClr val="tx1"/>
        </a:solidFill>
        <a:latin typeface="+mj-lt"/>
        <a:ea typeface="+mj-ea"/>
        <a:cs typeface="+mj-cs"/>
        <a:sym typeface="Calibri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>
        <a:solidFill>
          <a:schemeClr val="tx1"/>
        </a:solidFill>
        <a:latin typeface="+mj-lt"/>
        <a:ea typeface="+mj-ea"/>
        <a:cs typeface="+mj-cs"/>
        <a:sym typeface="Calibri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>
        <a:solidFill>
          <a:schemeClr val="tx1"/>
        </a:solidFill>
        <a:latin typeface="+mj-lt"/>
        <a:ea typeface="+mj-ea"/>
        <a:cs typeface="+mj-cs"/>
        <a:sym typeface="Calibri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>
        <a:solidFill>
          <a:schemeClr val="tx1"/>
        </a:solidFill>
        <a:latin typeface="+mj-lt"/>
        <a:ea typeface="+mj-ea"/>
        <a:cs typeface="+mj-cs"/>
        <a:sym typeface="Calibri" pitchFamily="34" charset="0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2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6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6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5" name="Shape 17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algn="ctr" hangingPunct="0"/>
            <a:r>
              <a:rPr lang="ru-RU" altLang="ru-RU" sz="1200">
                <a:solidFill>
                  <a:srgbClr val="898989"/>
                </a:solidFill>
              </a:rPr>
              <a:t>Правительство Самарской области</a:t>
            </a:r>
          </a:p>
        </p:txBody>
      </p:sp>
      <p:sp>
        <p:nvSpPr>
          <p:cNvPr id="6" name="Shape 18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pic>
        <p:nvPicPr>
          <p:cNvPr id="7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8" name="Shape 22"/>
          <p:cNvSpPr>
            <a:spLocks noChangeShapeType="1"/>
          </p:cNvSpPr>
          <p:nvPr/>
        </p:nvSpPr>
        <p:spPr bwMode="auto">
          <a:xfrm>
            <a:off x="684213" y="3284538"/>
            <a:ext cx="845978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9" name="Shape 23"/>
          <p:cNvSpPr>
            <a:spLocks noChangeArrowheads="1"/>
          </p:cNvSpPr>
          <p:nvPr/>
        </p:nvSpPr>
        <p:spPr bwMode="auto">
          <a:xfrm>
            <a:off x="2124075" y="6669088"/>
            <a:ext cx="5616575" cy="14446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>
            <a:lvl1pPr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defRPr/>
            </a:pPr>
            <a:endParaRPr lang="ru-RU" altLang="ru-RU" smtClean="0">
              <a:solidFill>
                <a:srgbClr val="FFFFFF"/>
              </a:solidFill>
            </a:endParaRPr>
          </a:p>
        </p:txBody>
      </p:sp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xfrm>
            <a:off x="685800" y="1628799"/>
            <a:ext cx="8458200" cy="1470026"/>
          </a:xfrm>
          <a:prstGeom prst="rect">
            <a:avLst/>
          </a:prstGeom>
        </p:spPr>
        <p:txBody>
          <a:bodyPr/>
          <a:lstStyle>
            <a:lvl1pPr indent="0">
              <a:defRPr sz="2800" b="1"/>
            </a:lvl1pPr>
          </a:lstStyle>
          <a:p>
            <a:r>
              <a:t>ЗАГОЛОВОК ПРЕЗЕНТАЦИИ</a:t>
            </a:r>
          </a:p>
        </p:txBody>
      </p:sp>
      <p:sp>
        <p:nvSpPr>
          <p:cNvPr id="20" name="Shape 20"/>
          <p:cNvSpPr>
            <a:spLocks noGrp="1"/>
          </p:cNvSpPr>
          <p:nvPr>
            <p:ph type="body" sz="quarter" idx="1"/>
          </p:nvPr>
        </p:nvSpPr>
        <p:spPr>
          <a:xfrm>
            <a:off x="2555775" y="4077072"/>
            <a:ext cx="6400801" cy="720081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SzTx/>
              <a:buFontTx/>
              <a:buNone/>
              <a:defRPr sz="2000"/>
            </a:lvl1pPr>
          </a:lstStyle>
          <a:p>
            <a:r>
              <a:t>ПОДЗАГОЛОВОК ПРЕЗЕНТАЦИИ</a:t>
            </a:r>
          </a:p>
        </p:txBody>
      </p:sp>
      <p:sp>
        <p:nvSpPr>
          <p:cNvPr id="10" name="Shape 24"/>
          <p:cNvSpPr>
            <a:spLocks noGrp="1"/>
          </p:cNvSpPr>
          <p:nvPr>
            <p:ph type="sldNum" sz="quarter" idx="10"/>
          </p:nvPr>
        </p:nvSpPr>
        <p:spPr>
          <a:xfrm>
            <a:off x="6553200" y="6111875"/>
            <a:ext cx="24765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E6EA05-8396-4613-BB8F-3DC2787CFA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0660090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984350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6993905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7807559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6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6526505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214280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1911106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 defTabSz="914188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  <a:t>111954, Москва, </a:t>
            </a:r>
          </a:p>
          <a:p>
            <a:pPr marL="1588" defTabSz="914188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latin typeface="Arial"/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latin typeface="Arial"/>
              <a:cs typeface="Arial" charset="0"/>
            </a:endParaRPr>
          </a:p>
          <a:p>
            <a:pPr marL="1588" defTabSz="914188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latin typeface="Arial"/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latin typeface="Arial"/>
                <a:cs typeface="Arial" charset="0"/>
              </a:rPr>
              <a:t>Факс: +7 (495) 644-38-27</a:t>
            </a:r>
          </a:p>
          <a:p>
            <a:pPr marL="1588" defTabSz="9141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7A1600"/>
                </a:solidFill>
                <a:latin typeface="Arial"/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latin typeface="Arial"/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9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008286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798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403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6292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5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5" name="Shape 46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algn="ctr" hangingPunct="0"/>
            <a:r>
              <a:rPr lang="ru-RU" altLang="ru-RU" sz="1200">
                <a:solidFill>
                  <a:srgbClr val="898989"/>
                </a:solidFill>
              </a:rPr>
              <a:t>Правительство Самарской области</a:t>
            </a:r>
          </a:p>
        </p:txBody>
      </p:sp>
      <p:sp>
        <p:nvSpPr>
          <p:cNvPr id="6" name="Shape 47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7" name="Shape 48"/>
          <p:cNvSpPr>
            <a:spLocks noChangeArrowheads="1"/>
          </p:cNvSpPr>
          <p:nvPr/>
        </p:nvSpPr>
        <p:spPr bwMode="auto">
          <a:xfrm>
            <a:off x="0" y="-26988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>
            <a:lvl1pPr indent="449263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>
              <a:defRPr/>
            </a:pPr>
            <a:endParaRPr lang="ru-RU" altLang="ru-RU" sz="4400" smtClean="0">
              <a:solidFill>
                <a:srgbClr val="FFFFFF"/>
              </a:solidFill>
            </a:endParaRPr>
          </a:p>
        </p:txBody>
      </p:sp>
      <p:pic>
        <p:nvPicPr>
          <p:cNvPr id="8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1" name="Shape 5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87624" y="-27384"/>
            <a:ext cx="7270577" cy="737321"/>
          </a:xfrm>
          <a:prstGeom prst="rect">
            <a:avLst/>
          </a:prstGeom>
          <a:noFill/>
        </p:spPr>
        <p:txBody>
          <a:bodyPr/>
          <a:lstStyle>
            <a:lvl1pPr indent="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9" name="Shape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0326E-BC82-442E-9EDA-F587EB7249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8222933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6668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2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658" indent="0">
              <a:buNone/>
              <a:defRPr sz="1600" b="1"/>
            </a:lvl8pPr>
            <a:lvl9pPr marL="36567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2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658" indent="0">
              <a:buNone/>
              <a:defRPr sz="1600" b="1"/>
            </a:lvl8pPr>
            <a:lvl9pPr marL="36567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605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780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7731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594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94" indent="0">
              <a:buNone/>
              <a:defRPr sz="2800"/>
            </a:lvl2pPr>
            <a:lvl3pPr marL="914188" indent="0">
              <a:buNone/>
              <a:defRPr sz="2400"/>
            </a:lvl3pPr>
            <a:lvl4pPr marL="1371282" indent="0">
              <a:buNone/>
              <a:defRPr sz="2000"/>
            </a:lvl4pPr>
            <a:lvl5pPr marL="1828376" indent="0">
              <a:buNone/>
              <a:defRPr sz="2000"/>
            </a:lvl5pPr>
            <a:lvl6pPr marL="2285472" indent="0">
              <a:buNone/>
              <a:defRPr sz="2000"/>
            </a:lvl6pPr>
            <a:lvl7pPr marL="2742565" indent="0">
              <a:buNone/>
              <a:defRPr sz="2000"/>
            </a:lvl7pPr>
            <a:lvl8pPr marL="3199658" indent="0">
              <a:buNone/>
              <a:defRPr sz="2000"/>
            </a:lvl8pPr>
            <a:lvl9pPr marL="3656754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6370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004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9322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5"/>
          <p:cNvSpPr>
            <a:spLocks noChangeShapeType="1"/>
          </p:cNvSpPr>
          <p:nvPr/>
        </p:nvSpPr>
        <p:spPr bwMode="auto">
          <a:xfrm>
            <a:off x="2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09" tIns="45710" rIns="45709" bIns="45710"/>
          <a:lstStyle/>
          <a:p>
            <a:pPr defTabSz="914188"/>
            <a:endParaRPr lang="ru-RU"/>
          </a:p>
        </p:txBody>
      </p:sp>
      <p:sp>
        <p:nvSpPr>
          <p:cNvPr id="5" name="Shape 46"/>
          <p:cNvSpPr>
            <a:spLocks noChangeArrowheads="1"/>
          </p:cNvSpPr>
          <p:nvPr/>
        </p:nvSpPr>
        <p:spPr bwMode="auto">
          <a:xfrm>
            <a:off x="2051050" y="6597652"/>
            <a:ext cx="5976938" cy="276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09" tIns="45710" rIns="45709" bIns="45710">
            <a:spAutoFit/>
          </a:bodyPr>
          <a:lstStyle/>
          <a:p>
            <a:pPr algn="ctr" defTabSz="914188" hangingPunct="0"/>
            <a:r>
              <a:rPr lang="ru-RU" altLang="ru-RU" sz="1200">
                <a:solidFill>
                  <a:srgbClr val="898989"/>
                </a:solidFill>
              </a:rPr>
              <a:t>Правительство Самарской области</a:t>
            </a:r>
          </a:p>
        </p:txBody>
      </p:sp>
      <p:sp>
        <p:nvSpPr>
          <p:cNvPr id="6" name="Shape 47"/>
          <p:cNvSpPr>
            <a:spLocks noChangeShapeType="1"/>
          </p:cNvSpPr>
          <p:nvPr/>
        </p:nvSpPr>
        <p:spPr bwMode="auto">
          <a:xfrm>
            <a:off x="6011865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09" tIns="45710" rIns="45709" bIns="45710"/>
          <a:lstStyle/>
          <a:p>
            <a:pPr defTabSz="914188"/>
            <a:endParaRPr lang="ru-RU"/>
          </a:p>
        </p:txBody>
      </p:sp>
      <p:sp>
        <p:nvSpPr>
          <p:cNvPr id="7" name="Shape 48"/>
          <p:cNvSpPr>
            <a:spLocks noChangeArrowheads="1"/>
          </p:cNvSpPr>
          <p:nvPr/>
        </p:nvSpPr>
        <p:spPr bwMode="auto">
          <a:xfrm>
            <a:off x="0" y="-26986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09" tIns="45710" rIns="45709" bIns="45710" anchor="ctr"/>
          <a:lstStyle>
            <a:lvl1pPr indent="449263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defTabSz="914188">
              <a:defRPr/>
            </a:pPr>
            <a:endParaRPr lang="ru-RU" altLang="ru-RU" sz="4400">
              <a:solidFill>
                <a:srgbClr val="FFFFFF"/>
              </a:solidFill>
            </a:endParaRPr>
          </a:p>
        </p:txBody>
      </p:sp>
      <p:pic>
        <p:nvPicPr>
          <p:cNvPr id="8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2" y="44452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1" name="Shape 5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87626" y="-27382"/>
            <a:ext cx="7270577" cy="737321"/>
          </a:xfrm>
          <a:prstGeom prst="rect">
            <a:avLst/>
          </a:prstGeom>
          <a:noFill/>
        </p:spPr>
        <p:txBody>
          <a:bodyPr/>
          <a:lstStyle>
            <a:lvl1pPr indent="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9" name="Shape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0326E-BC82-442E-9EDA-F587EB724902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53139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7002345" y="6381752"/>
            <a:ext cx="2133601" cy="28708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2.gif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848420" y="6208643"/>
            <a:ext cx="664965" cy="6333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9"/>
          <p:cNvSpPr/>
          <p:nvPr/>
        </p:nvSpPr>
        <p:spPr>
          <a:xfrm>
            <a:off x="1919785" y="6504975"/>
            <a:ext cx="5768288" cy="276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09" tIns="45710" rIns="45709" bIns="45710">
            <a:spAutoFit/>
          </a:bodyPr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rgbClr val="000066"/>
                </a:solidFill>
                <a:latin typeface="Calibri"/>
              </a:rPr>
              <a:t>Министерство социально-демографической и семейной политики Самар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70805278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29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6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Arial"/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3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7A1600"/>
                </a:solidFill>
                <a:latin typeface="Arial"/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latin typeface="Arial"/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latin typeface="Arial"/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latin typeface="Arial"/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latin typeface="Arial"/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latin typeface="Arial"/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latin typeface="Arial"/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latin typeface="Arial"/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latin typeface="Arial"/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latin typeface="Arial"/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latin typeface="Arial"/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6534496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8122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9697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9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3370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7111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2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658" indent="0">
              <a:buNone/>
              <a:defRPr sz="1600" b="1"/>
            </a:lvl8pPr>
            <a:lvl9pPr marL="36567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94" indent="0">
              <a:buNone/>
              <a:defRPr sz="2000" b="1"/>
            </a:lvl2pPr>
            <a:lvl3pPr marL="914188" indent="0">
              <a:buNone/>
              <a:defRPr sz="1800" b="1"/>
            </a:lvl3pPr>
            <a:lvl4pPr marL="1371282" indent="0">
              <a:buNone/>
              <a:defRPr sz="1600" b="1"/>
            </a:lvl4pPr>
            <a:lvl5pPr marL="1828376" indent="0">
              <a:buNone/>
              <a:defRPr sz="1600" b="1"/>
            </a:lvl5pPr>
            <a:lvl6pPr marL="2285472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658" indent="0">
              <a:buNone/>
              <a:defRPr sz="1600" b="1"/>
            </a:lvl8pPr>
            <a:lvl9pPr marL="36567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887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1236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5385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118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94" indent="0">
              <a:buNone/>
              <a:defRPr sz="2800"/>
            </a:lvl2pPr>
            <a:lvl3pPr marL="914188" indent="0">
              <a:buNone/>
              <a:defRPr sz="2400"/>
            </a:lvl3pPr>
            <a:lvl4pPr marL="1371282" indent="0">
              <a:buNone/>
              <a:defRPr sz="2000"/>
            </a:lvl4pPr>
            <a:lvl5pPr marL="1828376" indent="0">
              <a:buNone/>
              <a:defRPr sz="2000"/>
            </a:lvl5pPr>
            <a:lvl6pPr marL="2285472" indent="0">
              <a:buNone/>
              <a:defRPr sz="2000"/>
            </a:lvl6pPr>
            <a:lvl7pPr marL="2742565" indent="0">
              <a:buNone/>
              <a:defRPr sz="2000"/>
            </a:lvl7pPr>
            <a:lvl8pPr marL="3199658" indent="0">
              <a:buNone/>
              <a:defRPr sz="2000"/>
            </a:lvl8pPr>
            <a:lvl9pPr marL="3656754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3330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460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3096086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275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5"/>
          <p:cNvSpPr>
            <a:spLocks noChangeShapeType="1"/>
          </p:cNvSpPr>
          <p:nvPr/>
        </p:nvSpPr>
        <p:spPr bwMode="auto">
          <a:xfrm>
            <a:off x="2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09" tIns="45710" rIns="45709" bIns="45710"/>
          <a:lstStyle/>
          <a:p>
            <a:pPr defTabSz="914188"/>
            <a:endParaRPr lang="ru-RU"/>
          </a:p>
        </p:txBody>
      </p:sp>
      <p:sp>
        <p:nvSpPr>
          <p:cNvPr id="5" name="Shape 46"/>
          <p:cNvSpPr>
            <a:spLocks noChangeArrowheads="1"/>
          </p:cNvSpPr>
          <p:nvPr/>
        </p:nvSpPr>
        <p:spPr bwMode="auto">
          <a:xfrm>
            <a:off x="2051050" y="6597652"/>
            <a:ext cx="5976938" cy="276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09" tIns="45710" rIns="45709" bIns="45710">
            <a:spAutoFit/>
          </a:bodyPr>
          <a:lstStyle/>
          <a:p>
            <a:pPr algn="ctr" defTabSz="914188" hangingPunct="0"/>
            <a:r>
              <a:rPr lang="ru-RU" altLang="ru-RU" sz="1200">
                <a:solidFill>
                  <a:srgbClr val="898989"/>
                </a:solidFill>
              </a:rPr>
              <a:t>Правительство Самарской области</a:t>
            </a:r>
          </a:p>
        </p:txBody>
      </p:sp>
      <p:sp>
        <p:nvSpPr>
          <p:cNvPr id="6" name="Shape 47"/>
          <p:cNvSpPr>
            <a:spLocks noChangeShapeType="1"/>
          </p:cNvSpPr>
          <p:nvPr/>
        </p:nvSpPr>
        <p:spPr bwMode="auto">
          <a:xfrm>
            <a:off x="6011865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09" tIns="45710" rIns="45709" bIns="45710"/>
          <a:lstStyle/>
          <a:p>
            <a:pPr defTabSz="914188"/>
            <a:endParaRPr lang="ru-RU"/>
          </a:p>
        </p:txBody>
      </p:sp>
      <p:sp>
        <p:nvSpPr>
          <p:cNvPr id="7" name="Shape 48"/>
          <p:cNvSpPr>
            <a:spLocks noChangeArrowheads="1"/>
          </p:cNvSpPr>
          <p:nvPr/>
        </p:nvSpPr>
        <p:spPr bwMode="auto">
          <a:xfrm>
            <a:off x="0" y="-26986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09" tIns="45710" rIns="45709" bIns="45710" anchor="ctr"/>
          <a:lstStyle>
            <a:lvl1pPr indent="449263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defTabSz="914188">
              <a:defRPr/>
            </a:pPr>
            <a:endParaRPr lang="ru-RU" altLang="ru-RU" sz="4400">
              <a:solidFill>
                <a:srgbClr val="FFFFFF"/>
              </a:solidFill>
            </a:endParaRPr>
          </a:p>
        </p:txBody>
      </p:sp>
      <p:pic>
        <p:nvPicPr>
          <p:cNvPr id="8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2" y="44452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1" name="Shape 5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87626" y="-27382"/>
            <a:ext cx="7270577" cy="737321"/>
          </a:xfrm>
          <a:prstGeom prst="rect">
            <a:avLst/>
          </a:prstGeom>
          <a:noFill/>
        </p:spPr>
        <p:txBody>
          <a:bodyPr/>
          <a:lstStyle>
            <a:lvl1pPr indent="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9" name="Shape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0326E-BC82-442E-9EDA-F587EB724902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8436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7002345" y="6381752"/>
            <a:ext cx="2133601" cy="28708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2.gif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848420" y="6208643"/>
            <a:ext cx="664965" cy="6333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9"/>
          <p:cNvSpPr/>
          <p:nvPr/>
        </p:nvSpPr>
        <p:spPr>
          <a:xfrm>
            <a:off x="1919785" y="6504975"/>
            <a:ext cx="5768288" cy="276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09" tIns="45710" rIns="45709" bIns="45710">
            <a:spAutoFit/>
          </a:bodyPr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rgbClr val="000066"/>
                </a:solidFill>
                <a:latin typeface="Calibri"/>
              </a:rPr>
              <a:t>Министерство социально-демографической и семейной политики Самар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248431763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2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453816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2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1815044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66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108198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502055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9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7996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4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4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4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2297882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844072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4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2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1027" name="Shape 3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hangingPunct="0"/>
            <a:r>
              <a:rPr lang="ru-RU" altLang="ru-RU" sz="1200">
                <a:solidFill>
                  <a:srgbClr val="898989"/>
                </a:solidFill>
              </a:rPr>
              <a:t>Министерство экономического развития и инвестиций Самарской области</a:t>
            </a:r>
          </a:p>
        </p:txBody>
      </p:sp>
      <p:sp>
        <p:nvSpPr>
          <p:cNvPr id="1028" name="Shape 4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endParaRPr lang="ru-RU"/>
          </a:p>
        </p:txBody>
      </p:sp>
      <p:sp>
        <p:nvSpPr>
          <p:cNvPr id="1029" name="Shape 5"/>
          <p:cNvSpPr>
            <a:spLocks noChangeArrowheads="1"/>
          </p:cNvSpPr>
          <p:nvPr/>
        </p:nvSpPr>
        <p:spPr bwMode="auto">
          <a:xfrm>
            <a:off x="0" y="-26988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/>
          <a:p>
            <a:pPr indent="449263" algn="ctr" hangingPunct="0"/>
            <a:r>
              <a:rPr lang="ru-RU" altLang="ru-RU" sz="4400">
                <a:solidFill>
                  <a:srgbClr val="FFFFFF"/>
                </a:solidFill>
              </a:rPr>
              <a:t>Образец заголовка</a:t>
            </a:r>
          </a:p>
        </p:txBody>
      </p:sp>
      <p:pic>
        <p:nvPicPr>
          <p:cNvPr id="1030" name="image1.png" descr="самара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031" name="Shape 7"/>
          <p:cNvSpPr>
            <a:spLocks noGrp="1"/>
          </p:cNvSpPr>
          <p:nvPr>
            <p:ph type="sldNum" sz="quarter" idx="2"/>
          </p:nvPr>
        </p:nvSpPr>
        <p:spPr bwMode="auto">
          <a:xfrm>
            <a:off x="8172450" y="6634163"/>
            <a:ext cx="2476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none" lIns="45719" tIns="45720" rIns="45719" bIns="45720" numCol="1" anchor="b" anchorCtr="0" compatLnSpc="1">
            <a:prstTxWarp prst="textNoShape">
              <a:avLst/>
            </a:prstTxWarp>
            <a:spAutoFit/>
          </a:bodyPr>
          <a:lstStyle>
            <a:lvl1pPr hangingPunct="0">
              <a:defRPr sz="1000">
                <a:solidFill>
                  <a:srgbClr val="808080"/>
                </a:solidFill>
                <a:cs typeface="Arial" charset="0"/>
              </a:defRPr>
            </a:lvl1pPr>
          </a:lstStyle>
          <a:p>
            <a:pPr>
              <a:defRPr/>
            </a:pPr>
            <a:fld id="{B6152034-394B-43E9-9E9B-B3829AA9F4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032" name="Shape 8"/>
          <p:cNvSpPr>
            <a:spLocks noGrp="1"/>
          </p:cNvSpPr>
          <p:nvPr>
            <p:ph type="body" idx="1"/>
          </p:nvPr>
        </p:nvSpPr>
        <p:spPr bwMode="auto">
          <a:xfrm>
            <a:off x="468313" y="981075"/>
            <a:ext cx="8424862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>
                <a:sym typeface="Arial" charset="0"/>
              </a:rPr>
              <a:t>Уровень текста 1</a:t>
            </a:r>
          </a:p>
          <a:p>
            <a:pPr lvl="1"/>
            <a:r>
              <a:rPr lang="ru-RU" altLang="ru-RU" smtClean="0">
                <a:sym typeface="Arial" charset="0"/>
              </a:rPr>
              <a:t>Уровень текста 2</a:t>
            </a:r>
          </a:p>
          <a:p>
            <a:pPr lvl="2"/>
            <a:r>
              <a:rPr lang="ru-RU" altLang="ru-RU" smtClean="0">
                <a:sym typeface="Arial" charset="0"/>
              </a:rPr>
              <a:t>Уровень текста 3</a:t>
            </a:r>
          </a:p>
          <a:p>
            <a:pPr lvl="3"/>
            <a:r>
              <a:rPr lang="ru-RU" altLang="ru-RU" smtClean="0">
                <a:sym typeface="Arial" charset="0"/>
              </a:rPr>
              <a:t>Уровень текста 4</a:t>
            </a:r>
          </a:p>
          <a:p>
            <a:pPr lvl="4"/>
            <a:r>
              <a:rPr lang="ru-RU" altLang="ru-RU" smtClean="0">
                <a:sym typeface="Arial" charset="0"/>
              </a:rPr>
              <a:t>Уровень текста 5</a:t>
            </a:r>
          </a:p>
        </p:txBody>
      </p:sp>
      <p:sp>
        <p:nvSpPr>
          <p:cNvPr id="1033" name="Shape 9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>
                <a:sym typeface="Arial" charset="0"/>
              </a:rPr>
              <a:t>Текст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</p:sldLayoutIdLst>
  <p:transition spd="med"/>
  <p:hf hdr="0" dt="0"/>
  <p:txStyles>
    <p:titleStyle>
      <a:lvl1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1pPr>
      <a:lvl2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2pPr>
      <a:lvl3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3pPr>
      <a:lvl4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4pPr>
      <a:lvl5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5pPr>
      <a:lvl6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7pPr>
      <a:lvl8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8pPr>
      <a:lvl9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2900" indent="-3429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1pPr>
      <a:lvl2pPr marL="782638" indent="-325438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2pPr>
      <a:lvl3pPr marL="1219200" indent="-3048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3pPr>
      <a:lvl4pPr marL="17367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4pPr>
      <a:lvl5pPr marL="21939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»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02300738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62" tIns="47882" rIns="95762" bIns="47882"/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4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62" tIns="47882" rIns="95762" bIns="47882" anchor="ctr"/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4"/>
            <a:ext cx="8640000" cy="5040311"/>
          </a:xfrm>
          <a:prstGeom prst="rect">
            <a:avLst/>
          </a:prstGeom>
        </p:spPr>
        <p:txBody>
          <a:bodyPr vert="horz" lIns="71983" tIns="71983" rIns="71983" bIns="71983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0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latin typeface="Arial"/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5" y="6675530"/>
            <a:ext cx="157095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 defTabSz="914188" fontAlgn="auto">
              <a:spcBef>
                <a:spcPts val="0"/>
              </a:spcBef>
              <a:spcAft>
                <a:spcPts val="0"/>
              </a:spcAft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latin typeface="Arial"/>
                <a:cs typeface="Arial" charset="0"/>
              </a:rPr>
              <a:pPr algn="ctr" defTabSz="9141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622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</p:sldLayoutIdLst>
  <p:hf hdr="0" ftr="0" dt="0"/>
  <p:txStyles>
    <p:titleStyle>
      <a:lvl1pPr algn="l" defTabSz="914188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188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58" indent="-179958" algn="l" defTabSz="914188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17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875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33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19" tIns="45710" rIns="91419" bIns="4571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19" tIns="45710" rIns="91419" bIns="4571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18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611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</p:sldLayoutIdLst>
  <p:hf hdr="0" ftr="0" dt="0"/>
  <p:txStyles>
    <p:titleStyle>
      <a:lvl1pPr algn="ctr" defTabSz="91418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20" indent="-342820" algn="l" defTabSz="91418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8" indent="-285684" algn="l" defTabSz="91418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35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30" indent="-228548" algn="l" defTabSz="91418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24" indent="-228548" algn="l" defTabSz="91418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19" tIns="45710" rIns="91419" bIns="4571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19" tIns="45710" rIns="91419" bIns="4571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19" tIns="45710" rIns="91419" bIns="4571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188" fontAlgn="auto">
              <a:spcBef>
                <a:spcPts val="0"/>
              </a:spcBef>
              <a:spcAft>
                <a:spcPts val="0"/>
              </a:spcAft>
            </a:pPr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18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9458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</p:sldLayoutIdLst>
  <p:hf hdr="0" ftr="0" dt="0"/>
  <p:txStyles>
    <p:titleStyle>
      <a:lvl1pPr algn="ctr" defTabSz="91418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20" indent="-342820" algn="l" defTabSz="91418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8" indent="-285684" algn="l" defTabSz="91418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35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30" indent="-228548" algn="l" defTabSz="91418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24" indent="-228548" algn="l" defTabSz="91418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hape 407"/>
          <p:cNvSpPr>
            <a:spLocks noGrp="1"/>
          </p:cNvSpPr>
          <p:nvPr>
            <p:ph type="title"/>
          </p:nvPr>
        </p:nvSpPr>
        <p:spPr>
          <a:xfrm>
            <a:off x="539552" y="1556792"/>
            <a:ext cx="8458200" cy="2088827"/>
          </a:xfrm>
        </p:spPr>
        <p:txBody>
          <a:bodyPr/>
          <a:lstStyle/>
          <a:p>
            <a:pPr indent="450215">
              <a:lnSpc>
                <a:spcPct val="115000"/>
              </a:lnSpc>
              <a:spcAft>
                <a:spcPts val="0"/>
              </a:spcAft>
            </a:pPr>
            <a:r>
              <a:rPr lang="ru-RU" sz="2400" kern="18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О</a:t>
            </a:r>
            <a:r>
              <a:rPr lang="ru-RU" sz="2400" kern="1800" dirty="0" smtClean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б </a:t>
            </a:r>
            <a:r>
              <a:rPr lang="ru-RU" sz="2400" kern="18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изменениях в порядке предоставления выплаты на детей в возрасте </a:t>
            </a:r>
            <a:r>
              <a:rPr lang="ru-RU" sz="2400" kern="1800" dirty="0" smtClean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от </a:t>
            </a:r>
            <a:r>
              <a:rPr lang="ru-RU" sz="2400" kern="1800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3 до 7 лет включительно в 2021 году: новый размер и новые правила</a:t>
            </a:r>
            <a:endParaRPr lang="ru-RU" sz="1800" dirty="0">
              <a:solidFill>
                <a:schemeClr val="bg1"/>
              </a:solidFill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E6EA05-8396-4613-BB8F-3DC2787CFA87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6876" y="188640"/>
            <a:ext cx="8091435" cy="360040"/>
          </a:xfrm>
        </p:spPr>
        <p:txBody>
          <a:bodyPr>
            <a:normAutofit fontScale="90000"/>
          </a:bodyPr>
          <a:lstStyle/>
          <a:p>
            <a:pPr indent="450215">
              <a:spcAft>
                <a:spcPts val="0"/>
              </a:spcAft>
            </a:pPr>
            <a:r>
              <a:rPr lang="ru-RU" sz="2400" spc="-5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Расширен </a:t>
            </a:r>
            <a:r>
              <a:rPr lang="ru-RU" sz="2400" spc="-5" dirty="0" smtClean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список возможных </a:t>
            </a:r>
            <a:r>
              <a:rPr lang="ru-RU" sz="2400" spc="-5" dirty="0">
                <a:solidFill>
                  <a:schemeClr val="bg1"/>
                </a:solidFill>
                <a:latin typeface="Times New Roman"/>
                <a:ea typeface="Times New Roman"/>
                <a:cs typeface="Times New Roman"/>
              </a:rPr>
              <a:t>получателей </a:t>
            </a:r>
            <a:endParaRPr lang="ru-RU" sz="1800" dirty="0">
              <a:solidFill>
                <a:schemeClr val="bg1"/>
              </a:solidFill>
              <a:ea typeface="Calibri"/>
              <a:cs typeface="Times New Roman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99592" y="980728"/>
            <a:ext cx="2376264" cy="12241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емьи со студентами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63888" y="980728"/>
            <a:ext cx="2448272" cy="12241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ети,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ходящиеся под опекой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63680" y="964644"/>
            <a:ext cx="2268760" cy="12241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емьи с детьми-инвалидами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045193" y="2220882"/>
            <a:ext cx="2991579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Состав семьи</a:t>
            </a:r>
            <a:endParaRPr lang="ru-RU" sz="28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3888" y="2848394"/>
            <a:ext cx="32700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2000" b="1" dirty="0" smtClean="0">
                <a:solidFill>
                  <a:srgbClr val="0000CC"/>
                </a:solidFill>
                <a:latin typeface="Times New Roman"/>
                <a:ea typeface="Times New Roman"/>
              </a:rPr>
              <a:t>Включаются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2000" b="1" dirty="0" smtClean="0">
                <a:solidFill>
                  <a:srgbClr val="0000CC"/>
                </a:solidFill>
                <a:latin typeface="Times New Roman"/>
                <a:ea typeface="Times New Roman"/>
              </a:rPr>
              <a:t>родитель </a:t>
            </a:r>
            <a:r>
              <a:rPr lang="ru-RU" sz="2000" b="1" dirty="0">
                <a:solidFill>
                  <a:srgbClr val="0000CC"/>
                </a:solidFill>
                <a:latin typeface="Times New Roman"/>
                <a:ea typeface="Times New Roman"/>
              </a:rPr>
              <a:t>(в том числе усыновитель), опекун ребенка, подавший </a:t>
            </a:r>
            <a:r>
              <a:rPr lang="ru-RU" sz="2000" b="1" dirty="0" smtClean="0">
                <a:solidFill>
                  <a:srgbClr val="0000CC"/>
                </a:solidFill>
                <a:latin typeface="Times New Roman"/>
                <a:ea typeface="Times New Roman"/>
              </a:rPr>
              <a:t>заявление, 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2000" b="1" dirty="0" smtClean="0">
                <a:solidFill>
                  <a:srgbClr val="0000CC"/>
                </a:solidFill>
                <a:latin typeface="Times New Roman"/>
                <a:ea typeface="Times New Roman"/>
              </a:rPr>
              <a:t>его </a:t>
            </a:r>
            <a:r>
              <a:rPr lang="ru-RU" sz="2000" b="1" dirty="0">
                <a:solidFill>
                  <a:srgbClr val="0000CC"/>
                </a:solidFill>
                <a:latin typeface="Times New Roman"/>
                <a:ea typeface="Times New Roman"/>
              </a:rPr>
              <a:t>супруг, </a:t>
            </a:r>
            <a:endParaRPr lang="ru-RU" sz="2000" b="1" dirty="0" smtClean="0">
              <a:solidFill>
                <a:srgbClr val="0000CC"/>
              </a:solidFill>
              <a:latin typeface="Times New Roman"/>
              <a:ea typeface="Times New Roman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2000" b="1" dirty="0" smtClean="0">
                <a:solidFill>
                  <a:srgbClr val="0000CC"/>
                </a:solidFill>
                <a:latin typeface="Times New Roman"/>
                <a:ea typeface="Times New Roman"/>
              </a:rPr>
              <a:t>несовершеннолетние дети, в том числе студенты до 23 лет</a:t>
            </a:r>
            <a:endParaRPr lang="ru-RU" sz="2000" b="1" dirty="0">
              <a:solidFill>
                <a:srgbClr val="0000C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07902" y="2881085"/>
            <a:ext cx="5220409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Не включаются лица:</a:t>
            </a: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лишенные </a:t>
            </a:r>
            <a:r>
              <a:rPr lang="ru-RU" sz="2000" b="1" dirty="0">
                <a:solidFill>
                  <a:srgbClr val="002060"/>
                </a:solidFill>
                <a:latin typeface="Times New Roman"/>
                <a:ea typeface="Times New Roman"/>
              </a:rPr>
              <a:t>родительских прав, </a:t>
            </a:r>
            <a:endParaRPr lang="ru-RU" sz="2000" b="1" dirty="0" smtClean="0">
              <a:solidFill>
                <a:srgbClr val="002060"/>
              </a:solidFill>
              <a:latin typeface="Times New Roman"/>
              <a:ea typeface="Times New Roman"/>
            </a:endParaRP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находящиеся </a:t>
            </a:r>
            <a:r>
              <a:rPr lang="ru-RU" sz="2000" b="1" dirty="0">
                <a:solidFill>
                  <a:srgbClr val="002060"/>
                </a:solidFill>
                <a:latin typeface="Times New Roman"/>
                <a:ea typeface="Times New Roman"/>
              </a:rPr>
              <a:t>на полном государственном обеспечении</a:t>
            </a: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,</a:t>
            </a: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проходящие </a:t>
            </a:r>
            <a:r>
              <a:rPr lang="ru-RU" sz="2000" b="1" dirty="0">
                <a:solidFill>
                  <a:srgbClr val="002060"/>
                </a:solidFill>
                <a:latin typeface="Times New Roman"/>
                <a:ea typeface="Times New Roman"/>
              </a:rPr>
              <a:t>военную службу по призыву, </a:t>
            </a:r>
            <a:endParaRPr lang="ru-RU" sz="2000" b="1" dirty="0" smtClean="0">
              <a:solidFill>
                <a:srgbClr val="002060"/>
              </a:solidFill>
              <a:latin typeface="Times New Roman"/>
              <a:ea typeface="Times New Roman"/>
            </a:endParaRP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отбывающие </a:t>
            </a:r>
            <a:r>
              <a:rPr lang="ru-RU" sz="2000" b="1" dirty="0">
                <a:solidFill>
                  <a:srgbClr val="002060"/>
                </a:solidFill>
                <a:latin typeface="Times New Roman"/>
                <a:ea typeface="Times New Roman"/>
              </a:rPr>
              <a:t>наказание в виде лишения </a:t>
            </a:r>
            <a:r>
              <a:rPr lang="ru-RU" sz="2000" b="1" dirty="0" smtClean="0">
                <a:solidFill>
                  <a:srgbClr val="002060"/>
                </a:solidFill>
                <a:latin typeface="Times New Roman"/>
                <a:ea typeface="Times New Roman"/>
              </a:rPr>
              <a:t>свободы</a:t>
            </a: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</a:rPr>
              <a:t>находящиеся на принудительном  лечении;</a:t>
            </a:r>
          </a:p>
          <a:p>
            <a:pPr algn="just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002060"/>
                </a:solidFill>
                <a:latin typeface="Times New Roman"/>
              </a:rPr>
              <a:t>заключенные под стражу</a:t>
            </a:r>
            <a:endParaRPr lang="ru-RU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15182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764704"/>
            <a:ext cx="3446909" cy="41764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рмативные правовые акт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338" y="908720"/>
            <a:ext cx="3180792" cy="428573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4365104"/>
            <a:ext cx="4428284" cy="20730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5" name="TextBox 4"/>
          <p:cNvSpPr txBox="1"/>
          <p:nvPr/>
        </p:nvSpPr>
        <p:spPr>
          <a:xfrm>
            <a:off x="4932040" y="4437112"/>
            <a:ext cx="936104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Проект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083704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513622" y="6195703"/>
            <a:ext cx="2133600" cy="365125"/>
          </a:xfrm>
        </p:spPr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alt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" name="Group 28"/>
          <p:cNvGrpSpPr>
            <a:grpSpLocks noChangeAspect="1"/>
          </p:cNvGrpSpPr>
          <p:nvPr/>
        </p:nvGrpSpPr>
        <p:grpSpPr bwMode="auto">
          <a:xfrm>
            <a:off x="3840714" y="2591546"/>
            <a:ext cx="587270" cy="1174542"/>
            <a:chOff x="4466" y="2053"/>
            <a:chExt cx="590" cy="1177"/>
          </a:xfrm>
        </p:grpSpPr>
        <p:sp>
          <p:nvSpPr>
            <p:cNvPr id="6" name="Freeform 29"/>
            <p:cNvSpPr>
              <a:spLocks noChangeAspect="1"/>
            </p:cNvSpPr>
            <p:nvPr/>
          </p:nvSpPr>
          <p:spPr bwMode="gray">
            <a:xfrm>
              <a:off x="4466" y="2259"/>
              <a:ext cx="590" cy="971"/>
            </a:xfrm>
            <a:custGeom>
              <a:avLst/>
              <a:gdLst>
                <a:gd name="T0" fmla="*/ 284 w 590"/>
                <a:gd name="T1" fmla="*/ 59 h 971"/>
                <a:gd name="T2" fmla="*/ 364 w 590"/>
                <a:gd name="T3" fmla="*/ 7 h 971"/>
                <a:gd name="T4" fmla="*/ 446 w 590"/>
                <a:gd name="T5" fmla="*/ 52 h 971"/>
                <a:gd name="T6" fmla="*/ 512 w 590"/>
                <a:gd name="T7" fmla="*/ 216 h 971"/>
                <a:gd name="T8" fmla="*/ 532 w 590"/>
                <a:gd name="T9" fmla="*/ 417 h 971"/>
                <a:gd name="T10" fmla="*/ 450 w 590"/>
                <a:gd name="T11" fmla="*/ 305 h 971"/>
                <a:gd name="T12" fmla="*/ 398 w 590"/>
                <a:gd name="T13" fmla="*/ 118 h 971"/>
                <a:gd name="T14" fmla="*/ 490 w 590"/>
                <a:gd name="T15" fmla="*/ 497 h 971"/>
                <a:gd name="T16" fmla="*/ 388 w 590"/>
                <a:gd name="T17" fmla="*/ 531 h 971"/>
                <a:gd name="T18" fmla="*/ 412 w 590"/>
                <a:gd name="T19" fmla="*/ 817 h 971"/>
                <a:gd name="T20" fmla="*/ 366 w 590"/>
                <a:gd name="T21" fmla="*/ 967 h 971"/>
                <a:gd name="T22" fmla="*/ 308 w 590"/>
                <a:gd name="T23" fmla="*/ 832 h 971"/>
                <a:gd name="T24" fmla="*/ 290 w 590"/>
                <a:gd name="T25" fmla="*/ 549 h 971"/>
                <a:gd name="T26" fmla="*/ 264 w 590"/>
                <a:gd name="T27" fmla="*/ 801 h 971"/>
                <a:gd name="T28" fmla="*/ 189 w 590"/>
                <a:gd name="T29" fmla="*/ 962 h 971"/>
                <a:gd name="T30" fmla="*/ 151 w 590"/>
                <a:gd name="T31" fmla="*/ 804 h 971"/>
                <a:gd name="T32" fmla="*/ 184 w 590"/>
                <a:gd name="T33" fmla="*/ 525 h 971"/>
                <a:gd name="T34" fmla="*/ 84 w 590"/>
                <a:gd name="T35" fmla="*/ 505 h 971"/>
                <a:gd name="T36" fmla="*/ 170 w 590"/>
                <a:gd name="T37" fmla="*/ 118 h 971"/>
                <a:gd name="T38" fmla="*/ 86 w 590"/>
                <a:gd name="T39" fmla="*/ 401 h 971"/>
                <a:gd name="T40" fmla="*/ 24 w 590"/>
                <a:gd name="T41" fmla="*/ 303 h 971"/>
                <a:gd name="T42" fmla="*/ 140 w 590"/>
                <a:gd name="T43" fmla="*/ 39 h 971"/>
                <a:gd name="T44" fmla="*/ 212 w 590"/>
                <a:gd name="T45" fmla="*/ 13 h 971"/>
                <a:gd name="T46" fmla="*/ 284 w 590"/>
                <a:gd name="T47" fmla="*/ 59 h 9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90"/>
                <a:gd name="T73" fmla="*/ 0 h 971"/>
                <a:gd name="T74" fmla="*/ 590 w 590"/>
                <a:gd name="T75" fmla="*/ 971 h 9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90" h="971">
                  <a:moveTo>
                    <a:pt x="284" y="59"/>
                  </a:moveTo>
                  <a:cubicBezTo>
                    <a:pt x="326" y="59"/>
                    <a:pt x="352" y="37"/>
                    <a:pt x="364" y="7"/>
                  </a:cubicBezTo>
                  <a:cubicBezTo>
                    <a:pt x="390" y="2"/>
                    <a:pt x="418" y="17"/>
                    <a:pt x="446" y="52"/>
                  </a:cubicBezTo>
                  <a:cubicBezTo>
                    <a:pt x="470" y="87"/>
                    <a:pt x="498" y="155"/>
                    <a:pt x="512" y="216"/>
                  </a:cubicBezTo>
                  <a:cubicBezTo>
                    <a:pt x="528" y="274"/>
                    <a:pt x="590" y="404"/>
                    <a:pt x="532" y="417"/>
                  </a:cubicBezTo>
                  <a:cubicBezTo>
                    <a:pt x="476" y="430"/>
                    <a:pt x="462" y="364"/>
                    <a:pt x="450" y="305"/>
                  </a:cubicBezTo>
                  <a:cubicBezTo>
                    <a:pt x="430" y="227"/>
                    <a:pt x="398" y="118"/>
                    <a:pt x="398" y="118"/>
                  </a:cubicBezTo>
                  <a:cubicBezTo>
                    <a:pt x="405" y="150"/>
                    <a:pt x="492" y="428"/>
                    <a:pt x="490" y="497"/>
                  </a:cubicBezTo>
                  <a:cubicBezTo>
                    <a:pt x="428" y="523"/>
                    <a:pt x="442" y="516"/>
                    <a:pt x="388" y="531"/>
                  </a:cubicBezTo>
                  <a:cubicBezTo>
                    <a:pt x="394" y="620"/>
                    <a:pt x="405" y="737"/>
                    <a:pt x="412" y="817"/>
                  </a:cubicBezTo>
                  <a:cubicBezTo>
                    <a:pt x="414" y="865"/>
                    <a:pt x="438" y="963"/>
                    <a:pt x="366" y="967"/>
                  </a:cubicBezTo>
                  <a:cubicBezTo>
                    <a:pt x="294" y="971"/>
                    <a:pt x="318" y="915"/>
                    <a:pt x="308" y="832"/>
                  </a:cubicBezTo>
                  <a:lnTo>
                    <a:pt x="290" y="549"/>
                  </a:lnTo>
                  <a:lnTo>
                    <a:pt x="264" y="801"/>
                  </a:lnTo>
                  <a:cubicBezTo>
                    <a:pt x="250" y="879"/>
                    <a:pt x="256" y="960"/>
                    <a:pt x="189" y="962"/>
                  </a:cubicBezTo>
                  <a:cubicBezTo>
                    <a:pt x="122" y="964"/>
                    <a:pt x="149" y="840"/>
                    <a:pt x="151" y="804"/>
                  </a:cubicBezTo>
                  <a:cubicBezTo>
                    <a:pt x="153" y="768"/>
                    <a:pt x="184" y="579"/>
                    <a:pt x="184" y="525"/>
                  </a:cubicBezTo>
                  <a:cubicBezTo>
                    <a:pt x="134" y="515"/>
                    <a:pt x="84" y="505"/>
                    <a:pt x="84" y="505"/>
                  </a:cubicBezTo>
                  <a:lnTo>
                    <a:pt x="170" y="118"/>
                  </a:lnTo>
                  <a:cubicBezTo>
                    <a:pt x="170" y="101"/>
                    <a:pt x="110" y="370"/>
                    <a:pt x="86" y="401"/>
                  </a:cubicBezTo>
                  <a:cubicBezTo>
                    <a:pt x="62" y="433"/>
                    <a:pt x="0" y="397"/>
                    <a:pt x="24" y="303"/>
                  </a:cubicBezTo>
                  <a:cubicBezTo>
                    <a:pt x="34" y="263"/>
                    <a:pt x="124" y="55"/>
                    <a:pt x="140" y="39"/>
                  </a:cubicBezTo>
                  <a:cubicBezTo>
                    <a:pt x="156" y="23"/>
                    <a:pt x="160" y="0"/>
                    <a:pt x="212" y="13"/>
                  </a:cubicBezTo>
                  <a:cubicBezTo>
                    <a:pt x="238" y="41"/>
                    <a:pt x="242" y="59"/>
                    <a:pt x="284" y="59"/>
                  </a:cubicBezTo>
                  <a:close/>
                </a:path>
              </a:pathLst>
            </a:custGeom>
            <a:solidFill>
              <a:srgbClr val="33CCCC"/>
            </a:solidFill>
            <a:ln>
              <a:noFill/>
            </a:ln>
            <a:effectLst>
              <a:outerShdw dist="71842" dir="18900000" algn="ctr" rotWithShape="0">
                <a:srgbClr val="FFFFFF"/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Oval 30"/>
            <p:cNvSpPr>
              <a:spLocks noChangeAspect="1" noChangeArrowheads="1"/>
            </p:cNvSpPr>
            <p:nvPr/>
          </p:nvSpPr>
          <p:spPr bwMode="gray">
            <a:xfrm>
              <a:off x="4641" y="2053"/>
              <a:ext cx="212" cy="225"/>
            </a:xfrm>
            <a:prstGeom prst="ellipse">
              <a:avLst/>
            </a:prstGeom>
            <a:solidFill>
              <a:srgbClr val="33CCCC"/>
            </a:solidFill>
            <a:ln>
              <a:noFill/>
            </a:ln>
            <a:effectLst>
              <a:outerShdw dist="71842" dir="18900000" algn="ctr" rotWithShape="0">
                <a:srgbClr val="FFFFFF"/>
              </a:outerShdw>
            </a:effectLst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" name="Вертикальный свиток 7"/>
          <p:cNvSpPr/>
          <p:nvPr/>
        </p:nvSpPr>
        <p:spPr>
          <a:xfrm>
            <a:off x="4427984" y="2526349"/>
            <a:ext cx="1348468" cy="1304935"/>
          </a:xfrm>
          <a:prstGeom prst="verticalScroll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явление</a:t>
            </a:r>
            <a:endParaRPr lang="ru-RU" sz="14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Group 32"/>
          <p:cNvGrpSpPr>
            <a:grpSpLocks/>
          </p:cNvGrpSpPr>
          <p:nvPr/>
        </p:nvGrpSpPr>
        <p:grpSpPr bwMode="auto">
          <a:xfrm>
            <a:off x="705380" y="2296925"/>
            <a:ext cx="2342061" cy="1780147"/>
            <a:chOff x="3136" y="2704"/>
            <a:chExt cx="1078" cy="635"/>
          </a:xfrm>
        </p:grpSpPr>
        <p:pic>
          <p:nvPicPr>
            <p:cNvPr id="10" name="Picture 33" descr="7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1" y="2704"/>
              <a:ext cx="898" cy="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34"/>
            <p:cNvSpPr>
              <a:spLocks noChangeAspect="1" noChangeArrowheads="1"/>
            </p:cNvSpPr>
            <p:nvPr/>
          </p:nvSpPr>
          <p:spPr bwMode="auto">
            <a:xfrm>
              <a:off x="3136" y="3043"/>
              <a:ext cx="1078" cy="296"/>
            </a:xfrm>
            <a:prstGeom prst="rect">
              <a:avLst/>
            </a:prstGeom>
            <a:solidFill>
              <a:srgbClr val="6699FF"/>
            </a:solidFill>
            <a:ln w="9525">
              <a:solidFill>
                <a:srgbClr val="3366FF"/>
              </a:solidFill>
              <a:miter lim="800000"/>
              <a:headEnd/>
              <a:tailEnd/>
            </a:ln>
          </p:spPr>
          <p:txBody>
            <a:bodyPr lIns="18000" tIns="10800" rIns="18000" bIns="10800" anchor="ctr" anchorCtr="1"/>
            <a:lstStyle/>
            <a:p>
              <a:pPr algn="ctr">
                <a:spcBef>
                  <a:spcPct val="50000"/>
                </a:spcBef>
              </a:pPr>
              <a:r>
                <a:rPr lang="ru-RU" sz="1600" b="1" dirty="0">
                  <a:solidFill>
                    <a:srgbClr val="FFFFFF"/>
                  </a:solidFill>
                  <a:latin typeface="Times New Roman" pitchFamily="18" charset="0"/>
                </a:rPr>
                <a:t>Управление </a:t>
              </a:r>
              <a:br>
                <a:rPr lang="ru-RU" sz="1600" b="1" dirty="0">
                  <a:solidFill>
                    <a:srgbClr val="FFFFFF"/>
                  </a:solidFill>
                  <a:latin typeface="Times New Roman" pitchFamily="18" charset="0"/>
                </a:rPr>
              </a:br>
              <a:r>
                <a:rPr lang="ru-RU" sz="1600" b="1" dirty="0">
                  <a:solidFill>
                    <a:srgbClr val="FFFFFF"/>
                  </a:solidFill>
                  <a:latin typeface="Times New Roman" pitchFamily="18" charset="0"/>
                </a:rPr>
                <a:t>социальной защиты населения</a:t>
              </a:r>
            </a:p>
          </p:txBody>
        </p:sp>
      </p:grpSp>
      <p:grpSp>
        <p:nvGrpSpPr>
          <p:cNvPr id="12" name="Group 32"/>
          <p:cNvGrpSpPr>
            <a:grpSpLocks/>
          </p:cNvGrpSpPr>
          <p:nvPr/>
        </p:nvGrpSpPr>
        <p:grpSpPr bwMode="auto">
          <a:xfrm>
            <a:off x="1323617" y="4354045"/>
            <a:ext cx="3324274" cy="1443888"/>
            <a:chOff x="2714" y="2640"/>
            <a:chExt cx="1500" cy="717"/>
          </a:xfrm>
        </p:grpSpPr>
        <p:pic>
          <p:nvPicPr>
            <p:cNvPr id="13" name="Picture 33" descr="7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3" y="2640"/>
              <a:ext cx="898" cy="5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34"/>
            <p:cNvSpPr>
              <a:spLocks noChangeAspect="1" noChangeArrowheads="1"/>
            </p:cNvSpPr>
            <p:nvPr/>
          </p:nvSpPr>
          <p:spPr bwMode="auto">
            <a:xfrm>
              <a:off x="2714" y="2945"/>
              <a:ext cx="1500" cy="412"/>
            </a:xfrm>
            <a:prstGeom prst="rect">
              <a:avLst/>
            </a:prstGeom>
            <a:solidFill>
              <a:srgbClr val="6699FF"/>
            </a:solidFill>
            <a:ln w="9525">
              <a:solidFill>
                <a:srgbClr val="3366FF"/>
              </a:solidFill>
              <a:miter lim="800000"/>
              <a:headEnd/>
              <a:tailEnd/>
            </a:ln>
          </p:spPr>
          <p:txBody>
            <a:bodyPr lIns="18000" tIns="10800" rIns="18000" bIns="10800" anchor="ctr" anchorCtr="1"/>
            <a:lstStyle/>
            <a:p>
              <a:pPr algn="ctr">
                <a:spcBef>
                  <a:spcPct val="50000"/>
                </a:spcBef>
              </a:pPr>
              <a:r>
                <a:rPr lang="ru-RU" sz="1600" b="1" dirty="0" smtClean="0">
                  <a:solidFill>
                    <a:srgbClr val="FFFFFF"/>
                  </a:solidFill>
                  <a:latin typeface="Times New Roman" pitchFamily="18" charset="0"/>
                </a:rPr>
                <a:t>МФЦ по экстерриториальному принципу</a:t>
              </a:r>
              <a:endParaRPr lang="ru-RU" sz="1600" b="1" dirty="0">
                <a:solidFill>
                  <a:srgbClr val="FFFFFF"/>
                </a:solidFill>
                <a:latin typeface="Times New Roman" pitchFamily="18" charset="0"/>
              </a:endParaRPr>
            </a:p>
          </p:txBody>
        </p:sp>
      </p:grpSp>
      <p:pic>
        <p:nvPicPr>
          <p:cNvPr id="14338" name="Picture 2" descr="https://avatars.mds.yandex.net/get-zen_doc/1645803/pub_5da5add8c0519800ae52be5c_5da5ae0c9515ee725602d02a/scale_1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1561621"/>
            <a:ext cx="2304255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s://rbsmi.ru/upload/iblock/ccd/ccdfbb9be3a2fd9e5bd02a636809400b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4077073"/>
            <a:ext cx="2824841" cy="172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Стрелка влево 15"/>
          <p:cNvSpPr/>
          <p:nvPr/>
        </p:nvSpPr>
        <p:spPr>
          <a:xfrm>
            <a:off x="3131840" y="3281602"/>
            <a:ext cx="703937" cy="38056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Стрелка влево 16"/>
          <p:cNvSpPr/>
          <p:nvPr/>
        </p:nvSpPr>
        <p:spPr>
          <a:xfrm rot="17338555">
            <a:off x="3548498" y="3980115"/>
            <a:ext cx="720080" cy="460313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 rot="2726587">
            <a:off x="4798755" y="3964126"/>
            <a:ext cx="739764" cy="3939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5776452" y="3024230"/>
            <a:ext cx="720080" cy="4460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356156"/>
              </p:ext>
            </p:extLst>
          </p:nvPr>
        </p:nvGraphicFramePr>
        <p:xfrm>
          <a:off x="263217" y="836712"/>
          <a:ext cx="8633143" cy="5791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66649"/>
                <a:gridCol w="1125910"/>
                <a:gridCol w="1224136"/>
                <a:gridCol w="1296144"/>
                <a:gridCol w="1368152"/>
                <a:gridCol w="1080120"/>
                <a:gridCol w="1372032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ФНС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ПФР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МВД  России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ФСИН России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среестр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ФССП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ы занятости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1" name="Двойная стрелка влево/вправо 20"/>
          <p:cNvSpPr/>
          <p:nvPr/>
        </p:nvSpPr>
        <p:spPr>
          <a:xfrm rot="18339172">
            <a:off x="2515805" y="2034999"/>
            <a:ext cx="1566864" cy="707513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err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ежвед</a:t>
            </a:r>
            <a:endParaRPr lang="ru-RU" sz="20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Заголовок 2"/>
          <p:cNvSpPr>
            <a:spLocks noGrp="1"/>
          </p:cNvSpPr>
          <p:nvPr>
            <p:ph type="title"/>
          </p:nvPr>
        </p:nvSpPr>
        <p:spPr>
          <a:xfrm>
            <a:off x="1187626" y="-27382"/>
            <a:ext cx="7270577" cy="737321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плата на детей в возрасте от 3 до 7 лет включительно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63217" y="5947861"/>
            <a:ext cx="84795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Times New Roman"/>
                <a:ea typeface="Times New Roman"/>
              </a:rPr>
              <a:t>заявления от родителей принимаются с 1 апреля 2021 года до конца 2021 года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0000CC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8026977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а заявле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539552" y="2132856"/>
            <a:ext cx="8064896" cy="378206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1. Сведения о заявителе 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2. Сведения о супруге заявителя 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3. Сведения о детях заявителя 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4. Сведения о заявителе или членах его семьи, необходимые для определения права на выплату, которые не могут быть запрошены в порядке межведомственного запроса 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5. Сведения об отдельных доходах семьи, которые не могут быть запрошены в порядке межведомственного запроса</a:t>
            </a:r>
          </a:p>
          <a:p>
            <a:pPr algn="ctr">
              <a:lnSpc>
                <a:spcPct val="150000"/>
              </a:lnSpc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6. Сведения об определении заявителем способа получения выплат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99692" y="908720"/>
            <a:ext cx="55446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/>
              </a:rPr>
              <a:t>ТИПОВАЯ ФОРМА ЗАЯВЛЕНИЯ </a:t>
            </a:r>
            <a:endParaRPr lang="ru-RU" dirty="0">
              <a:latin typeface="Times New Roman"/>
            </a:endParaRPr>
          </a:p>
          <a:p>
            <a:pPr algn="ctr"/>
            <a:r>
              <a:rPr lang="ru-RU" b="1" dirty="0">
                <a:latin typeface="Times New Roman"/>
              </a:rPr>
              <a:t>о назначении ежемесячной денежной выплаты на ребенка в возрасте от 3 до 7 лет включительно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408109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ведения, которые предоставляются заявителем о себе и</a:t>
            </a:r>
            <a:r>
              <a:rPr lang="ru-RU" dirty="0"/>
              <a:t>л</a:t>
            </a:r>
            <a:r>
              <a:rPr lang="ru-RU" dirty="0" smtClean="0"/>
              <a:t>и членах семь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11560" y="908720"/>
            <a:ext cx="8064896" cy="546303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кты гражданского состояния, выданные компетентным органом иностранного государства (о рождении, смерти, браке)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наличии в собственност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жилог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мещения; </a:t>
            </a:r>
          </a:p>
          <a:p>
            <a:pPr algn="just">
              <a:spcBef>
                <a:spcPts val="600"/>
              </a:spcBef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 обучени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явителя или членов его семьи младше 23 лет, неполучения стипендии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хождении лечени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лительностью свыше 3 месяцев, в том числе принудительном лечении по решению суда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нахождени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лном государственном обеспечении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прохождени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енно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лужбы п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изыву или обучении в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оенной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разовательной организации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ключени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д стражу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мере отдельных доходов: (стипендии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одержания судей, пенсии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получаемой лицами, проходящими (проходившими) военную службу, службу в иных силовых структурах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оходов, полученных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еделами Российской Федерации, доходов о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едпринимательско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еятельностью, от осуществления частной практики;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оходов по договорам авторск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каза;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 наличии в собственност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жилых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мещений, земельных участков, предоставленных в рамках социальной поддержки многодетной семьи;</a:t>
            </a:r>
          </a:p>
          <a:p>
            <a:pPr algn="just">
              <a:spcBef>
                <a:spcPts val="600"/>
              </a:spcBef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о наличии зарегистрированн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втотранспортног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мототранспортного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 средства, выданного в рамках социальной поддержки многодетной семьи.</a:t>
            </a:r>
          </a:p>
        </p:txBody>
      </p:sp>
    </p:spTree>
    <p:extLst>
      <p:ext uri="{BB962C8B-B14F-4D97-AF65-F5344CB8AC3E}">
        <p14:creationId xmlns:p14="http://schemas.microsoft.com/office/powerpoint/2010/main" val="117178243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1979712" y="5013176"/>
            <a:ext cx="936104" cy="50405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979712" y="3284984"/>
            <a:ext cx="936104" cy="504056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5499383" y="4869160"/>
            <a:ext cx="1152128" cy="648072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/>
          <p:cNvSpPr/>
          <p:nvPr/>
        </p:nvSpPr>
        <p:spPr>
          <a:xfrm>
            <a:off x="5499383" y="3068960"/>
            <a:ext cx="1152128" cy="648072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90" y="1916832"/>
            <a:ext cx="8320982" cy="4032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9632" y="116632"/>
            <a:ext cx="7128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мер выплаты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936625" y="836712"/>
            <a:ext cx="7231062" cy="466725"/>
          </a:xfrm>
          <a:prstGeom prst="rect">
            <a:avLst/>
          </a:prstGeom>
        </p:spPr>
        <p:txBody>
          <a:bodyPr lIns="0" tIns="10064" rIns="0" bIns="0"/>
          <a:lstStyle/>
          <a:p>
            <a:pPr marL="12700" algn="ctr" fontAlgn="auto">
              <a:lnSpc>
                <a:spcPts val="1585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b="1" spc="-1" dirty="0" err="1">
                <a:solidFill>
                  <a:srgbClr val="4D5252"/>
                </a:solidFill>
                <a:latin typeface="Segoe UI"/>
                <a:cs typeface="Segoe UI"/>
              </a:rPr>
              <a:t>Размер</a:t>
            </a:r>
            <a:r>
              <a:rPr b="1" spc="-1" dirty="0">
                <a:solidFill>
                  <a:srgbClr val="4D5252"/>
                </a:solidFill>
                <a:latin typeface="Segoe UI"/>
                <a:cs typeface="Segoe UI"/>
              </a:rPr>
              <a:t> </a:t>
            </a:r>
            <a:r>
              <a:rPr lang="ru-RU" b="1" spc="-1" dirty="0">
                <a:solidFill>
                  <a:srgbClr val="4D5252"/>
                </a:solidFill>
                <a:latin typeface="Segoe UI"/>
                <a:cs typeface="Segoe UI"/>
              </a:rPr>
              <a:t>ежемесячной денежной </a:t>
            </a:r>
            <a:r>
              <a:rPr b="1" spc="-1" dirty="0" err="1">
                <a:solidFill>
                  <a:srgbClr val="4D5252"/>
                </a:solidFill>
                <a:latin typeface="Segoe UI"/>
                <a:cs typeface="Segoe UI"/>
              </a:rPr>
              <a:t>выплаты</a:t>
            </a:r>
            <a:r>
              <a:rPr b="1" spc="-1" dirty="0">
                <a:solidFill>
                  <a:srgbClr val="4D5252"/>
                </a:solidFill>
                <a:latin typeface="Segoe UI"/>
                <a:cs typeface="Segoe UI"/>
              </a:rPr>
              <a:t> – </a:t>
            </a:r>
            <a:r>
              <a:rPr lang="ru-RU" b="1" spc="-1" dirty="0" smtClean="0">
                <a:solidFill>
                  <a:srgbClr val="4D5252"/>
                </a:solidFill>
                <a:latin typeface="Segoe UI"/>
                <a:cs typeface="Segoe UI"/>
              </a:rPr>
              <a:t>в 2020 - </a:t>
            </a:r>
            <a:r>
              <a:rPr b="1" spc="-1" dirty="0" smtClean="0">
                <a:solidFill>
                  <a:srgbClr val="FF0000"/>
                </a:solidFill>
                <a:latin typeface="Segoe UI"/>
                <a:cs typeface="Segoe UI"/>
              </a:rPr>
              <a:t>5 </a:t>
            </a:r>
            <a:r>
              <a:rPr b="1" spc="-1" dirty="0">
                <a:solidFill>
                  <a:srgbClr val="FF0000"/>
                </a:solidFill>
                <a:latin typeface="Segoe UI"/>
                <a:cs typeface="Segoe UI"/>
              </a:rPr>
              <a:t>357 </a:t>
            </a:r>
            <a:r>
              <a:rPr lang="ru-RU" b="1" spc="-1" dirty="0" smtClean="0">
                <a:solidFill>
                  <a:srgbClr val="FF0000"/>
                </a:solidFill>
                <a:latin typeface="Segoe UI"/>
                <a:cs typeface="Segoe UI"/>
              </a:rPr>
              <a:t>₽</a:t>
            </a:r>
          </a:p>
          <a:p>
            <a:pPr marL="12700" algn="ctr" fontAlgn="auto">
              <a:lnSpc>
                <a:spcPts val="1585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FF0000"/>
                </a:solidFill>
                <a:latin typeface="Segoe UI"/>
                <a:cs typeface="Segoe UI"/>
              </a:rPr>
              <a:t>                                                                              </a:t>
            </a:r>
            <a:r>
              <a:rPr lang="ru-RU" b="1" dirty="0" smtClean="0">
                <a:latin typeface="Segoe UI"/>
                <a:cs typeface="Segoe UI"/>
              </a:rPr>
              <a:t>в  2021 -</a:t>
            </a:r>
            <a:r>
              <a:rPr lang="ru-RU" b="1" dirty="0" smtClean="0">
                <a:solidFill>
                  <a:srgbClr val="FF0000"/>
                </a:solidFill>
                <a:latin typeface="Segoe UI"/>
                <a:cs typeface="Segoe UI"/>
              </a:rPr>
              <a:t> 5500</a:t>
            </a:r>
            <a:r>
              <a:rPr lang="ru-RU" b="1" spc="-1" dirty="0">
                <a:solidFill>
                  <a:srgbClr val="FF0000"/>
                </a:solidFill>
                <a:latin typeface="Segoe UI"/>
                <a:cs typeface="Segoe UI"/>
              </a:rPr>
              <a:t> </a:t>
            </a:r>
            <a:r>
              <a:rPr lang="ru-RU" b="1" spc="-1" dirty="0" smtClean="0">
                <a:solidFill>
                  <a:srgbClr val="FF0000"/>
                </a:solidFill>
                <a:latin typeface="Segoe UI"/>
                <a:cs typeface="Segoe UI"/>
              </a:rPr>
              <a:t> ₽</a:t>
            </a:r>
            <a:endParaRPr b="1" dirty="0">
              <a:solidFill>
                <a:srgbClr val="FF0000"/>
              </a:solidFill>
              <a:latin typeface="Segoe UI"/>
              <a:cs typeface="Segoe UI"/>
            </a:endParaRPr>
          </a:p>
        </p:txBody>
      </p:sp>
      <p:sp>
        <p:nvSpPr>
          <p:cNvPr id="8" name="object 10"/>
          <p:cNvSpPr txBox="1"/>
          <p:nvPr/>
        </p:nvSpPr>
        <p:spPr>
          <a:xfrm>
            <a:off x="499490" y="1315630"/>
            <a:ext cx="8174038" cy="597408"/>
          </a:xfrm>
          <a:prstGeom prst="rect">
            <a:avLst/>
          </a:prstGeom>
        </p:spPr>
        <p:txBody>
          <a:bodyPr lIns="0" tIns="10064" rIns="0" bIns="0"/>
          <a:lstStyle/>
          <a:p>
            <a:pPr marL="127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змер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выплаты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может быть будет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увеличен до величины прожиточного минимума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           (до 8250 руб. и до 11000 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руб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.) для семей которые останутся малоимущими</a:t>
            </a:r>
            <a:endParaRPr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95478" y="5733256"/>
            <a:ext cx="8629459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Размер </a:t>
            </a:r>
            <a:r>
              <a:rPr lang="ru-RU" sz="2000" b="1" dirty="0">
                <a:solidFill>
                  <a:prstClr val="white"/>
                </a:solidFill>
                <a:latin typeface="Times New Roman"/>
                <a:ea typeface="Times New Roman"/>
              </a:rPr>
              <a:t>среднедушевого дохода </a:t>
            </a:r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семьи </a:t>
            </a:r>
            <a:r>
              <a:rPr lang="ru-RU" sz="2000" b="1" dirty="0">
                <a:solidFill>
                  <a:prstClr val="white"/>
                </a:solidFill>
                <a:latin typeface="Times New Roman"/>
                <a:ea typeface="Times New Roman"/>
              </a:rPr>
              <a:t>не превышает величину прожиточного минимума на душу </a:t>
            </a:r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населения в 2021 году (10979 руб.)</a:t>
            </a:r>
            <a:endParaRPr lang="ru-RU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50146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ценка нуждаемости семьи в получении выплаты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Рисунок 9" descr="Каким имуществом можно владеть и при этом претендовать на помощь от государства.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821687"/>
            <a:ext cx="5184576" cy="498357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179512" y="5805264"/>
            <a:ext cx="87849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При оценке нуждаемости учитываются </a:t>
            </a:r>
          </a:p>
          <a:p>
            <a:pPr algn="ctr"/>
            <a:r>
              <a:rPr lang="ru-RU" sz="2000" b="1" dirty="0" smtClean="0">
                <a:solidFill>
                  <a:srgbClr val="0000CC"/>
                </a:solidFill>
                <a:latin typeface="Times New Roman" pitchFamily="18" charset="0"/>
                <a:cs typeface="Times New Roman" pitchFamily="18" charset="0"/>
              </a:rPr>
              <a:t>только доходы граждан, расходы не учитываются</a:t>
            </a:r>
            <a:endParaRPr lang="ru-RU" sz="2000" b="1" dirty="0">
              <a:solidFill>
                <a:srgbClr val="0000C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9592" y="5805264"/>
            <a:ext cx="69923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solidFill>
                  <a:srgbClr val="FF0000"/>
                </a:solidFill>
              </a:rPr>
              <a:t>!!!</a:t>
            </a:r>
            <a:endParaRPr lang="ru-RU" sz="4000" b="1" dirty="0">
              <a:solidFill>
                <a:srgbClr val="FF0000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47569"/>
            <a:ext cx="3600400" cy="4731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780329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6" descr="C:\Users\TitovaOA\Downloads\0898f7993c1b474a69870fcabd5318fec3e57c36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60647"/>
            <a:ext cx="7920880" cy="63004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9329685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ыплата на детей в возрасте от 3 до 7 лет включительно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588224" y="6309320"/>
            <a:ext cx="2133600" cy="365125"/>
          </a:xfrm>
        </p:spPr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9415" y="1052736"/>
            <a:ext cx="8640960" cy="4001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Calibri"/>
              </a:rPr>
              <a:t>Ребенок должен быть гражданином </a:t>
            </a:r>
            <a:r>
              <a:rPr lang="ru-RU" sz="2000" b="1" dirty="0">
                <a:solidFill>
                  <a:prstClr val="white"/>
                </a:solidFill>
                <a:latin typeface="Times New Roman"/>
                <a:ea typeface="Calibri"/>
              </a:rPr>
              <a:t>Российской Федерации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9625" y="1772816"/>
            <a:ext cx="8640960" cy="101566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prstClr val="black"/>
                </a:solidFill>
                <a:latin typeface="Times New Roman"/>
                <a:ea typeface="Calibri"/>
              </a:rPr>
              <a:t>Обращается один из родителей </a:t>
            </a:r>
            <a:r>
              <a:rPr lang="ru-RU" sz="2000" dirty="0">
                <a:solidFill>
                  <a:prstClr val="black"/>
                </a:solidFill>
                <a:latin typeface="Times New Roman"/>
                <a:ea typeface="Calibri"/>
              </a:rPr>
              <a:t>или иной законный представитель ребенка, являющийся гражданином Российской Федерации и проживающий на территории Российской Федерации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41035" y="3068960"/>
            <a:ext cx="8629459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Размер </a:t>
            </a:r>
            <a:r>
              <a:rPr lang="ru-RU" sz="2000" b="1" dirty="0">
                <a:solidFill>
                  <a:prstClr val="white"/>
                </a:solidFill>
                <a:latin typeface="Times New Roman"/>
                <a:ea typeface="Times New Roman"/>
              </a:rPr>
              <a:t>среднедушевого дохода </a:t>
            </a:r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семьи </a:t>
            </a:r>
            <a:r>
              <a:rPr lang="ru-RU" sz="2000" b="1" dirty="0">
                <a:solidFill>
                  <a:prstClr val="white"/>
                </a:solidFill>
                <a:latin typeface="Times New Roman"/>
                <a:ea typeface="Times New Roman"/>
              </a:rPr>
              <a:t>не превышает величину прожиточного минимума на душу </a:t>
            </a:r>
            <a:r>
              <a:rPr lang="ru-RU" sz="2000" b="1" dirty="0" smtClean="0">
                <a:solidFill>
                  <a:prstClr val="white"/>
                </a:solidFill>
                <a:latin typeface="Times New Roman"/>
                <a:ea typeface="Times New Roman"/>
              </a:rPr>
              <a:t>населения (10979 руб.)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1035" y="4131984"/>
            <a:ext cx="8640959" cy="132343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prstClr val="white"/>
                </a:solidFill>
                <a:latin typeface="Times New Roman"/>
                <a:ea typeface="Calibri"/>
              </a:rPr>
              <a:t>Ежемесячная выплата не назначается, если ребенок находится на полном государственном обеспечении, а также в случае лишения получателя ежемесячной выплаты родительских прав в отношении ребенка, на которого осуществляется ежемесячная выплата</a:t>
            </a:r>
            <a:endParaRPr lang="ru-RU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9294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94</TotalTime>
  <Words>594</Words>
  <Application>Microsoft Office PowerPoint</Application>
  <PresentationFormat>Экран (4:3)</PresentationFormat>
  <Paragraphs>77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1" baseType="lpstr">
      <vt:lpstr>Arial</vt:lpstr>
      <vt:lpstr>Calibri</vt:lpstr>
      <vt:lpstr>Helvetica</vt:lpstr>
      <vt:lpstr>Segoe UI</vt:lpstr>
      <vt:lpstr>Times New Roman</vt:lpstr>
      <vt:lpstr>Wingdings</vt:lpstr>
      <vt:lpstr>_ШАБЛОН_МЭР_СО - копия</vt:lpstr>
      <vt:lpstr>4_Strategy Partners</vt:lpstr>
      <vt:lpstr>7_Тема Office</vt:lpstr>
      <vt:lpstr>8_Тема Office</vt:lpstr>
      <vt:lpstr>think-cell Slide</vt:lpstr>
      <vt:lpstr>Об изменениях в порядке предоставления выплаты на детей в возрасте от 3 до 7 лет включительно в 2021 году: новый размер и новые правила</vt:lpstr>
      <vt:lpstr>Нормативные правовые акты</vt:lpstr>
      <vt:lpstr>Выплата на детей в возрасте от 3 до 7 лет включительно</vt:lpstr>
      <vt:lpstr>Форма заявления</vt:lpstr>
      <vt:lpstr>Сведения, которые предоставляются заявителем о себе или членах семьи</vt:lpstr>
      <vt:lpstr>Презентация PowerPoint</vt:lpstr>
      <vt:lpstr>Оценка нуждаемости семьи в получении выплаты</vt:lpstr>
      <vt:lpstr>Презентация PowerPoint</vt:lpstr>
      <vt:lpstr>Выплата на детей в возрасте от 3 до 7 лет включительно</vt:lpstr>
      <vt:lpstr>Расширен список возможных получателей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ЦИОНАЛЬНЫЙ ПРОЕКТ «Наименование»</dc:title>
  <dc:creator>Шайхова Л.Р.</dc:creator>
  <cp:lastModifiedBy>Expert</cp:lastModifiedBy>
  <cp:revision>295</cp:revision>
  <cp:lastPrinted>2021-04-02T07:31:05Z</cp:lastPrinted>
  <dcterms:modified xsi:type="dcterms:W3CDTF">2021-04-08T06:30:58Z</dcterms:modified>
</cp:coreProperties>
</file>